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0" r:id="rId1"/>
  </p:sldMasterIdLst>
  <p:notesMasterIdLst>
    <p:notesMasterId r:id="rId20"/>
  </p:notesMasterIdLst>
  <p:sldIdLst>
    <p:sldId id="276" r:id="rId2"/>
    <p:sldId id="277" r:id="rId3"/>
    <p:sldId id="283" r:id="rId4"/>
    <p:sldId id="256" r:id="rId5"/>
    <p:sldId id="258" r:id="rId6"/>
    <p:sldId id="280" r:id="rId7"/>
    <p:sldId id="259" r:id="rId8"/>
    <p:sldId id="281" r:id="rId9"/>
    <p:sldId id="261" r:id="rId10"/>
    <p:sldId id="262" r:id="rId11"/>
    <p:sldId id="264" r:id="rId12"/>
    <p:sldId id="263" r:id="rId13"/>
    <p:sldId id="266" r:id="rId14"/>
    <p:sldId id="271" r:id="rId15"/>
    <p:sldId id="282" r:id="rId16"/>
    <p:sldId id="272" r:id="rId17"/>
    <p:sldId id="278" r:id="rId18"/>
    <p:sldId id="279" r:id="rId19"/>
  </p:sldIdLst>
  <p:sldSz cx="9144000" cy="6858000" type="screen4x3"/>
  <p:notesSz cx="6858000" cy="9144000"/>
  <p:custDataLst>
    <p:tags r:id="rId21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6" d="100"/>
          <a:sy n="66" d="100"/>
        </p:scale>
        <p:origin x="1410" y="6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88E2BA-A3AB-4517-A621-0674ACFFC222}" type="datetimeFigureOut">
              <a:rPr lang="es-ES" smtClean="0"/>
              <a:t>15/01/2021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F0FFB4-DF87-48F8-8DBB-E75561FAE61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986278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F0FFB4-DF87-48F8-8DBB-E75561FAE618}" type="slidenum">
              <a:rPr lang="es-ES" smtClean="0"/>
              <a:t>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210279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B2A7A-EF54-4958-8D68-4CE16F1750B9}" type="datetimeFigureOut">
              <a:rPr lang="es-ES" smtClean="0"/>
              <a:t>15/01/2021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A5F6A5-5B22-457E-B10F-45AB57B519CC}" type="slidenum">
              <a:rPr lang="es-ES" smtClean="0"/>
              <a:t>‹Nº›</a:t>
            </a:fld>
            <a:endParaRPr lang="es-E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B2A7A-EF54-4958-8D68-4CE16F1750B9}" type="datetimeFigureOut">
              <a:rPr lang="es-ES" smtClean="0"/>
              <a:t>15/01/2021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A5F6A5-5B22-457E-B10F-45AB57B519CC}" type="slidenum">
              <a:rPr lang="es-ES" smtClean="0"/>
              <a:t>‹Nº›</a:t>
            </a:fld>
            <a:endParaRPr lang="es-E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B2A7A-EF54-4958-8D68-4CE16F1750B9}" type="datetimeFigureOut">
              <a:rPr lang="es-ES" smtClean="0"/>
              <a:t>15/01/2021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A5F6A5-5B22-457E-B10F-45AB57B519CC}" type="slidenum">
              <a:rPr lang="es-ES" smtClean="0"/>
              <a:t>‹Nº›</a:t>
            </a:fld>
            <a:endParaRPr lang="es-E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B2A7A-EF54-4958-8D68-4CE16F1750B9}" type="datetimeFigureOut">
              <a:rPr lang="es-ES" smtClean="0"/>
              <a:t>15/01/2021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A5F6A5-5B22-457E-B10F-45AB57B519CC}" type="slidenum">
              <a:rPr lang="es-ES" smtClean="0"/>
              <a:t>‹Nº›</a:t>
            </a:fld>
            <a:endParaRPr lang="es-E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B2A7A-EF54-4958-8D68-4CE16F1750B9}" type="datetimeFigureOut">
              <a:rPr lang="es-ES" smtClean="0"/>
              <a:t>15/01/2021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A5F6A5-5B22-457E-B10F-45AB57B519CC}" type="slidenum">
              <a:rPr lang="es-ES" smtClean="0"/>
              <a:t>‹Nº›</a:t>
            </a:fld>
            <a:endParaRPr lang="es-E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B2A7A-EF54-4958-8D68-4CE16F1750B9}" type="datetimeFigureOut">
              <a:rPr lang="es-ES" smtClean="0"/>
              <a:t>15/01/2021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A5F6A5-5B22-457E-B10F-45AB57B519CC}" type="slidenum">
              <a:rPr lang="es-ES" smtClean="0"/>
              <a:t>‹Nº›</a:t>
            </a:fld>
            <a:endParaRPr lang="es-E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B2A7A-EF54-4958-8D68-4CE16F1750B9}" type="datetimeFigureOut">
              <a:rPr lang="es-ES" smtClean="0"/>
              <a:t>15/01/2021</a:t>
            </a:fld>
            <a:endParaRPr lang="es-E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A5F6A5-5B22-457E-B10F-45AB57B519CC}" type="slidenum">
              <a:rPr lang="es-ES" smtClean="0"/>
              <a:t>‹Nº›</a:t>
            </a:fld>
            <a:endParaRPr lang="es-E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B2A7A-EF54-4958-8D68-4CE16F1750B9}" type="datetimeFigureOut">
              <a:rPr lang="es-ES" smtClean="0"/>
              <a:t>15/01/2021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A5F6A5-5B22-457E-B10F-45AB57B519CC}" type="slidenum">
              <a:rPr lang="es-ES" smtClean="0"/>
              <a:t>‹Nº›</a:t>
            </a:fld>
            <a:endParaRPr lang="es-E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B2A7A-EF54-4958-8D68-4CE16F1750B9}" type="datetimeFigureOut">
              <a:rPr lang="es-ES" smtClean="0"/>
              <a:t>15/01/2021</a:t>
            </a:fld>
            <a:endParaRPr lang="es-E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A5F6A5-5B22-457E-B10F-45AB57B519CC}" type="slidenum">
              <a:rPr lang="es-ES" smtClean="0"/>
              <a:t>‹Nº›</a:t>
            </a:fld>
            <a:endParaRPr lang="es-E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B2A7A-EF54-4958-8D68-4CE16F1750B9}" type="datetimeFigureOut">
              <a:rPr lang="es-ES" smtClean="0"/>
              <a:t>15/01/2021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A5F6A5-5B22-457E-B10F-45AB57B519CC}" type="slidenum">
              <a:rPr lang="es-ES" smtClean="0"/>
              <a:t>‹Nº›</a:t>
            </a:fld>
            <a:endParaRPr lang="es-E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 smtClean="0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B2A7A-EF54-4958-8D68-4CE16F1750B9}" type="datetimeFigureOut">
              <a:rPr lang="es-ES" smtClean="0"/>
              <a:t>15/01/2021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A5F6A5-5B22-457E-B10F-45AB57B519CC}" type="slidenum">
              <a:rPr lang="es-ES" smtClean="0"/>
              <a:t>‹Nº›</a:t>
            </a:fld>
            <a:endParaRPr lang="es-E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C0B2A7A-EF54-4958-8D68-4CE16F1750B9}" type="datetimeFigureOut">
              <a:rPr lang="es-ES" smtClean="0"/>
              <a:t>15/01/2021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ECA5F6A5-5B22-457E-B10F-45AB57B519CC}" type="slidenum">
              <a:rPr lang="es-ES" smtClean="0"/>
              <a:t>‹Nº›</a:t>
            </a:fld>
            <a:endParaRPr lang="es-E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4" Type="http://schemas.openxmlformats.org/officeDocument/2006/relationships/image" Target="../media/image2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2.emf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5" Type="http://schemas.openxmlformats.org/officeDocument/2006/relationships/image" Target="../media/image2.emf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5" Type="http://schemas.openxmlformats.org/officeDocument/2006/relationships/image" Target="../media/image2.emf"/><Relationship Id="rId4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6" Type="http://schemas.openxmlformats.org/officeDocument/2006/relationships/image" Target="../media/image30.png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2.emf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image" Target="../media/image1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5" Type="http://schemas.openxmlformats.org/officeDocument/2006/relationships/image" Target="../media/image2.emf"/><Relationship Id="rId4" Type="http://schemas.openxmlformats.org/officeDocument/2006/relationships/image" Target="../media/image1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4000" b="1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467544" y="188640"/>
            <a:ext cx="8458200" cy="1222375"/>
          </a:xfrm>
        </p:spPr>
        <p:txBody>
          <a:bodyPr/>
          <a:lstStyle/>
          <a:p>
            <a:pPr marL="182880" indent="0" algn="ctr">
              <a:buNone/>
            </a:pPr>
            <a:r>
              <a:rPr lang="es-ES" sz="4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5000" endA="300" endPos="45500" dir="5400000" sy="-100000" algn="bl" rotWithShape="0"/>
                </a:effectLst>
              </a:rPr>
              <a:t/>
            </a:r>
            <a:br>
              <a:rPr lang="es-ES" sz="4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5000" endA="300" endPos="45500" dir="5400000" sy="-100000" algn="bl" rotWithShape="0"/>
                </a:effectLst>
              </a:rPr>
            </a:br>
            <a:r>
              <a:rPr lang="es-ES" sz="4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5000" endA="300" endPos="45500" dir="5400000" sy="-100000" algn="bl" rotWithShape="0"/>
                </a:effectLst>
              </a:rPr>
              <a:t>MEMORIA DE ACTIVIDADES AMPA ESCOLAPIAS CARABANCHEL </a:t>
            </a:r>
            <a:br>
              <a:rPr lang="es-ES" sz="4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5000" endA="300" endPos="45500" dir="5400000" sy="-100000" algn="bl" rotWithShape="0"/>
                </a:effectLst>
              </a:rPr>
            </a:br>
            <a:r>
              <a:rPr lang="es-ES" sz="4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5000" endA="300" endPos="45500" dir="5400000" sy="-100000" algn="bl" rotWithShape="0"/>
                </a:effectLst>
              </a:rPr>
              <a:t/>
            </a:r>
            <a:br>
              <a:rPr lang="es-ES" sz="4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5000" endA="300" endPos="45500" dir="5400000" sy="-100000" algn="bl" rotWithShape="0"/>
                </a:effectLst>
              </a:rPr>
            </a:br>
            <a:r>
              <a:rPr lang="es-ES" sz="4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5000" endA="300" endPos="45500" dir="5400000" sy="-100000" algn="bl" rotWithShape="0"/>
                </a:effectLst>
              </a:rPr>
              <a:t>CURSO 2018-2019</a:t>
            </a:r>
            <a:endParaRPr lang="es-ES" sz="4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  <a:reflection blurRad="6350" stA="55000" endA="300" endPos="45500" dir="5400000" sy="-100000" algn="bl" rotWithShape="0"/>
              </a:effectLst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1962" y="5157192"/>
            <a:ext cx="1769364" cy="1623060"/>
          </a:xfrm>
          <a:prstGeom prst="rect">
            <a:avLst/>
          </a:prstGeom>
        </p:spPr>
      </p:pic>
      <p:pic>
        <p:nvPicPr>
          <p:cNvPr id="1043" name="Picture 1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64555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4800" b="1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110752" y="44624"/>
            <a:ext cx="8925744" cy="1222375"/>
          </a:xfrm>
        </p:spPr>
        <p:txBody>
          <a:bodyPr/>
          <a:lstStyle/>
          <a:p>
            <a:pPr marL="182880" indent="0" algn="ctr">
              <a:buNone/>
            </a:pPr>
            <a:r>
              <a:rPr lang="es-ES" sz="4800" dirty="0" smtClean="0"/>
              <a:t>FELICITACIÓN NAVIDEÑA A PADRES Y PERSONAL DEL CENTRO</a:t>
            </a:r>
            <a:endParaRPr lang="es-ES" sz="4800" dirty="0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2348880"/>
            <a:ext cx="5824339" cy="436561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3324" name="Picture 1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64818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4800" b="1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1346524" y="0"/>
            <a:ext cx="6696744" cy="1222375"/>
          </a:xfrm>
        </p:spPr>
        <p:txBody>
          <a:bodyPr/>
          <a:lstStyle/>
          <a:p>
            <a:pPr marL="182880" indent="0">
              <a:buNone/>
            </a:pPr>
            <a:r>
              <a:rPr lang="es-ES" sz="4800" dirty="0" smtClean="0"/>
              <a:t>TALLER DE NAVIDAD</a:t>
            </a:r>
            <a:endParaRPr lang="es-ES" sz="4800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4777" y="1011760"/>
            <a:ext cx="4051719" cy="5729608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5363" name="Picture 3" descr="C:\Users\mcastilg\AppData\Local\Microsoft\Windows\Temporary Internet Files\Content.IE5\CVTQMYUU\7EAAE231-0E59-4975-9991-5A232577760D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730" y="4860548"/>
            <a:ext cx="4715125" cy="1862142"/>
          </a:xfrm>
          <a:prstGeom prst="rect">
            <a:avLst/>
          </a:prstGeom>
          <a:noFill/>
          <a:ln>
            <a:solidFill>
              <a:schemeClr val="accent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4" name="Picture 4" descr="C:\Users\mcastilg\AppData\Local\Microsoft\Windows\Temporary Internet Files\Content.IE5\AW1ZF43X\DE25387A-2883-4D00-A5B8-C6AB2526D866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6524" y="991513"/>
            <a:ext cx="2245536" cy="3659319"/>
          </a:xfrm>
          <a:prstGeom prst="rect">
            <a:avLst/>
          </a:prstGeom>
          <a:noFill/>
          <a:ln>
            <a:solidFill>
              <a:schemeClr val="accent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70" name="Picture 1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1612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4800" b="1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467544" y="116632"/>
            <a:ext cx="8458200" cy="1222375"/>
          </a:xfrm>
        </p:spPr>
        <p:txBody>
          <a:bodyPr/>
          <a:lstStyle/>
          <a:p>
            <a:pPr marL="182880" indent="0" algn="ctr">
              <a:buNone/>
            </a:pPr>
            <a:r>
              <a:rPr lang="es-ES" sz="4800" dirty="0" smtClean="0"/>
              <a:t>FIESTA DE NAVIDAD</a:t>
            </a:r>
            <a:endParaRPr lang="es-ES" sz="4800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5976" y="2033389"/>
            <a:ext cx="4565596" cy="3411835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229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066509"/>
            <a:ext cx="3960440" cy="5674859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2294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64818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Rectángulo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4800" b="1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146248" y="-27384"/>
            <a:ext cx="8818240" cy="1222375"/>
          </a:xfrm>
        </p:spPr>
        <p:txBody>
          <a:bodyPr/>
          <a:lstStyle/>
          <a:p>
            <a:pPr marL="182880" indent="0" algn="ctr">
              <a:buNone/>
            </a:pPr>
            <a:r>
              <a:rPr lang="es-ES" sz="4800" dirty="0" smtClean="0"/>
              <a:t>PUERTAS ABIERTAS 2019</a:t>
            </a:r>
            <a:endParaRPr lang="es-ES" sz="4800" dirty="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7305" y="836712"/>
            <a:ext cx="4349191" cy="2679053"/>
          </a:xfrm>
          <a:prstGeom prst="rect">
            <a:avLst/>
          </a:prstGeom>
          <a:ln>
            <a:solidFill>
              <a:schemeClr val="accent2"/>
            </a:solidFill>
          </a:ln>
        </p:spPr>
      </p:pic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1124744"/>
            <a:ext cx="5133975" cy="2981325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0032" y="3910787"/>
            <a:ext cx="3724449" cy="2830581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9220" name="Picture 4" descr="C:\Users\mcastilg\AppData\Local\Microsoft\Windows\Temporary Internet Files\Content.IE5\CVTQMYUU\Cartel_Jornada_Puertas_Abiertas_2019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656" y="3645024"/>
            <a:ext cx="2045237" cy="3126211"/>
          </a:xfrm>
          <a:prstGeom prst="rect">
            <a:avLst/>
          </a:prstGeom>
          <a:noFill/>
          <a:ln>
            <a:solidFill>
              <a:schemeClr val="accent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32" name="Picture 1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57771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4000" b="1" dirty="0">
              <a:latin typeface="Trebuchet MS"/>
              <a:ea typeface="+mj-ea"/>
              <a:cs typeface="+mj-cs"/>
              <a:sym typeface="Trebuchet MS"/>
            </a:endParaRPr>
          </a:p>
        </p:txBody>
      </p:sp>
      <p:pic>
        <p:nvPicPr>
          <p:cNvPr id="7173" name="Picture 5" descr="C:\Users\mcastilg\AppData\Local\Microsoft\Windows\Temporary Internet Files\Content.IE5\DQG991MP\Segundo taller PNL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9164" y="3738827"/>
            <a:ext cx="5331677" cy="2995390"/>
          </a:xfrm>
          <a:prstGeom prst="rect">
            <a:avLst/>
          </a:prstGeom>
          <a:noFill/>
          <a:ln>
            <a:solidFill>
              <a:schemeClr val="accent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467544" y="-99392"/>
            <a:ext cx="8458200" cy="1222375"/>
          </a:xfrm>
        </p:spPr>
        <p:txBody>
          <a:bodyPr/>
          <a:lstStyle/>
          <a:p>
            <a:pPr marL="182880" indent="0" algn="ctr">
              <a:buNone/>
            </a:pPr>
            <a:r>
              <a:rPr lang="es-ES" sz="4000" dirty="0" smtClean="0"/>
              <a:t>2º TALLER PNL PARA FAMILIAS: LOS JUICIOS EN LA COMUNICACIÓN INTERPERSONAL</a:t>
            </a:r>
            <a:endParaRPr lang="es-ES" sz="4000" dirty="0"/>
          </a:p>
        </p:txBody>
      </p:sp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08" y="1772816"/>
            <a:ext cx="3995936" cy="2773299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7187" name="Picture 1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57771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4000" b="1" dirty="0">
              <a:latin typeface="Trebuchet MS"/>
              <a:ea typeface="+mj-ea"/>
              <a:cs typeface="+mj-cs"/>
              <a:sym typeface="Trebuchet MS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715" y="2276872"/>
            <a:ext cx="4294090" cy="3257318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467544" y="190401"/>
            <a:ext cx="8458200" cy="1222375"/>
          </a:xfrm>
        </p:spPr>
        <p:txBody>
          <a:bodyPr/>
          <a:lstStyle/>
          <a:p>
            <a:pPr marL="182880" indent="0" algn="ctr">
              <a:buNone/>
            </a:pPr>
            <a:r>
              <a:rPr lang="es-ES" sz="4000" dirty="0" smtClean="0"/>
              <a:t>COLABORACIÓN CON LA GRADUACIÓN DE BACHILLERATO PROMOCIÓN 2019</a:t>
            </a:r>
            <a:endParaRPr lang="es-ES" sz="4000" dirty="0"/>
          </a:p>
        </p:txBody>
      </p:sp>
      <p:pic>
        <p:nvPicPr>
          <p:cNvPr id="4098" name="Picture 2" descr="D:\Mis Cosas-Geles-\AMPA\2016-2017\Fotos varias\2017-05-26-PHOTO-00002067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9648" y="4724100"/>
            <a:ext cx="2880320" cy="1620180"/>
          </a:xfrm>
          <a:prstGeom prst="rect">
            <a:avLst/>
          </a:prstGeom>
          <a:noFill/>
          <a:ln>
            <a:solidFill>
              <a:schemeClr val="accent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 descr="D:\Mis Cosas-Geles-\AMPA\2016-2017\Fotos varias\2017-05-26-PHOTO-00002061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2492896"/>
            <a:ext cx="3346626" cy="1882477"/>
          </a:xfrm>
          <a:prstGeom prst="rect">
            <a:avLst/>
          </a:prstGeom>
          <a:noFill/>
          <a:ln>
            <a:solidFill>
              <a:schemeClr val="accent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Resultado de imagen de dibujos graduacion bachillerat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20" y="4724100"/>
            <a:ext cx="2160240" cy="2160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5" name="Picture 1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27362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4800" b="1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0" y="188640"/>
            <a:ext cx="9144000" cy="1222375"/>
          </a:xfrm>
        </p:spPr>
        <p:txBody>
          <a:bodyPr/>
          <a:lstStyle/>
          <a:p>
            <a:pPr marL="182880" indent="0" algn="ctr">
              <a:buNone/>
            </a:pPr>
            <a:r>
              <a:rPr lang="es-ES" sz="4800" dirty="0" smtClean="0"/>
              <a:t>FIESTA FIN DE CURSO 2018-19</a:t>
            </a:r>
            <a:endParaRPr lang="es-ES" sz="4800" dirty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9404" y="1268760"/>
            <a:ext cx="6805191" cy="5114408"/>
          </a:xfrm>
          <a:prstGeom prst="rect">
            <a:avLst/>
          </a:prstGeom>
          <a:ln>
            <a:solidFill>
              <a:schemeClr val="accent2"/>
            </a:solidFill>
          </a:ln>
        </p:spPr>
      </p:pic>
      <p:pic>
        <p:nvPicPr>
          <p:cNvPr id="8209" name="Picture 1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57771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4800" b="1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4" name="1 Título"/>
          <p:cNvSpPr>
            <a:spLocks noGrp="1"/>
          </p:cNvSpPr>
          <p:nvPr>
            <p:ph type="ctrTitle"/>
          </p:nvPr>
        </p:nvSpPr>
        <p:spPr>
          <a:xfrm>
            <a:off x="467544" y="2420888"/>
            <a:ext cx="8458200" cy="1222375"/>
          </a:xfrm>
        </p:spPr>
        <p:txBody>
          <a:bodyPr/>
          <a:lstStyle/>
          <a:p>
            <a:pPr marL="182880" indent="0" algn="ctr">
              <a:buNone/>
            </a:pPr>
            <a:r>
              <a:rPr lang="es-ES" sz="4800" dirty="0" smtClean="0"/>
              <a:t>COLABORACIONES CON EL COLEGIO DURANTE EL CURSO 2018-2019:</a:t>
            </a:r>
            <a:endParaRPr lang="es-ES" sz="4800" dirty="0"/>
          </a:p>
        </p:txBody>
      </p:sp>
      <p:sp>
        <p:nvSpPr>
          <p:cNvPr id="5" name="1 Título"/>
          <p:cNvSpPr txBox="1">
            <a:spLocks/>
          </p:cNvSpPr>
          <p:nvPr/>
        </p:nvSpPr>
        <p:spPr>
          <a:xfrm>
            <a:off x="395536" y="5157192"/>
            <a:ext cx="8458200" cy="108012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>
            <a:lvl1pPr marL="640080" indent="-457200" algn="l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54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182880" indent="0" algn="ctr">
              <a:buNone/>
            </a:pPr>
            <a:r>
              <a:rPr lang="es-ES" sz="48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5 PROYECTORES </a:t>
            </a:r>
            <a:r>
              <a:rPr lang="es-ES" sz="28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(</a:t>
            </a:r>
            <a:r>
              <a:rPr lang="es-ES" sz="2800" dirty="0" smtClean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.433,19</a:t>
            </a:r>
            <a:r>
              <a:rPr lang="es-ES" sz="28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€)</a:t>
            </a:r>
            <a:endParaRPr lang="es-ES" sz="28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6" name="1 Título"/>
          <p:cNvSpPr txBox="1">
            <a:spLocks/>
          </p:cNvSpPr>
          <p:nvPr/>
        </p:nvSpPr>
        <p:spPr>
          <a:xfrm>
            <a:off x="467544" y="-25623"/>
            <a:ext cx="8458200" cy="1222375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>
            <a:lvl1pPr marL="640080" indent="-457200" algn="l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54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182880" indent="0" algn="ctr">
              <a:buFont typeface="Georgia" pitchFamily="18" charset="0"/>
              <a:buNone/>
            </a:pPr>
            <a:r>
              <a:rPr lang="es-ES" sz="4800" dirty="0" smtClean="0"/>
              <a:t/>
            </a:r>
            <a:br>
              <a:rPr lang="es-ES" sz="4800" dirty="0" smtClean="0"/>
            </a:br>
            <a:r>
              <a:rPr lang="es-ES" sz="4800" dirty="0" smtClean="0"/>
              <a:t>BANCO DE UNIFORMES</a:t>
            </a:r>
            <a:br>
              <a:rPr lang="es-ES" sz="4800" dirty="0" smtClean="0"/>
            </a:br>
            <a:r>
              <a:rPr lang="es-ES" sz="4800" dirty="0" smtClean="0"/>
              <a:t>* * * *</a:t>
            </a:r>
            <a:br>
              <a:rPr lang="es-ES" sz="4800" dirty="0" smtClean="0"/>
            </a:br>
            <a:endParaRPr lang="es-ES" sz="4800" dirty="0"/>
          </a:p>
        </p:txBody>
      </p:sp>
      <p:pic>
        <p:nvPicPr>
          <p:cNvPr id="16390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33764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467544" y="188640"/>
            <a:ext cx="8458200" cy="6264696"/>
          </a:xfrm>
        </p:spPr>
        <p:txBody>
          <a:bodyPr/>
          <a:lstStyle/>
          <a:p>
            <a:pPr marL="182880" indent="0" algn="ctr">
              <a:buNone/>
            </a:pPr>
            <a:r>
              <a:rPr lang="es-ES" sz="4800" dirty="0" smtClean="0"/>
              <a:t/>
            </a:r>
            <a:br>
              <a:rPr lang="es-ES" sz="4800" dirty="0" smtClean="0"/>
            </a:br>
            <a:endParaRPr lang="es-ES" sz="4800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0280" y="2677376"/>
            <a:ext cx="6552728" cy="3807666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4" name="1 Título"/>
          <p:cNvSpPr txBox="1">
            <a:spLocks/>
          </p:cNvSpPr>
          <p:nvPr/>
        </p:nvSpPr>
        <p:spPr>
          <a:xfrm>
            <a:off x="467544" y="188640"/>
            <a:ext cx="8458200" cy="1222375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>
            <a:lvl1pPr marL="640080" indent="-457200" algn="l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54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182880" indent="0" algn="ctr">
              <a:buFont typeface="Georgia" pitchFamily="18" charset="0"/>
              <a:buNone/>
            </a:pPr>
            <a:r>
              <a:rPr lang="es-ES" sz="4800" dirty="0" smtClean="0"/>
              <a:t>Porque sin vosotros no sería posible…</a:t>
            </a:r>
          </a:p>
          <a:p>
            <a:pPr marL="182880" indent="0" algn="ctr">
              <a:buFont typeface="Georgia" pitchFamily="18" charset="0"/>
              <a:buNone/>
            </a:pPr>
            <a:r>
              <a:rPr lang="es-ES" sz="4800" dirty="0" smtClean="0"/>
              <a:t>¡¡¡GRACIAS!!!</a:t>
            </a:r>
            <a:endParaRPr lang="es-ES" sz="4800" dirty="0"/>
          </a:p>
        </p:txBody>
      </p:sp>
      <p:pic>
        <p:nvPicPr>
          <p:cNvPr id="1843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86837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600" y="404664"/>
            <a:ext cx="4318748" cy="609877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9" name="1 Título"/>
          <p:cNvSpPr txBox="1">
            <a:spLocks/>
          </p:cNvSpPr>
          <p:nvPr/>
        </p:nvSpPr>
        <p:spPr>
          <a:xfrm>
            <a:off x="5004048" y="1556792"/>
            <a:ext cx="3436105" cy="3455412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>
            <a:lvl1pPr marL="640080" indent="-457200" algn="l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54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182880" indent="0" algn="ctr">
              <a:buFont typeface="Georgia" pitchFamily="18" charset="0"/>
              <a:buNone/>
            </a:pPr>
            <a:r>
              <a:rPr lang="es-ES" sz="3600" dirty="0" smtClean="0"/>
              <a:t>COMIENZO DE UN NUEVO CURSO </a:t>
            </a:r>
          </a:p>
          <a:p>
            <a:pPr marL="182880" indent="0" algn="ctr">
              <a:buFont typeface="Georgia" pitchFamily="18" charset="0"/>
              <a:buNone/>
            </a:pPr>
            <a:endParaRPr lang="es-ES" sz="3600" dirty="0"/>
          </a:p>
          <a:p>
            <a:pPr marL="182880" indent="0" algn="ctr">
              <a:buFont typeface="Georgia" pitchFamily="18" charset="0"/>
              <a:buNone/>
            </a:pPr>
            <a:r>
              <a:rPr lang="es-ES" sz="3600" dirty="0" smtClean="0"/>
              <a:t>A DISPOSICIÓN DE NUESTROS SOCIOS</a:t>
            </a:r>
            <a:endParaRPr lang="es-ES" sz="3600" dirty="0"/>
          </a:p>
        </p:txBody>
      </p:sp>
    </p:spTree>
    <p:extLst>
      <p:ext uri="{BB962C8B-B14F-4D97-AF65-F5344CB8AC3E}">
        <p14:creationId xmlns:p14="http://schemas.microsoft.com/office/powerpoint/2010/main" val="905214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1 Título"/>
          <p:cNvSpPr txBox="1">
            <a:spLocks/>
          </p:cNvSpPr>
          <p:nvPr/>
        </p:nvSpPr>
        <p:spPr>
          <a:xfrm>
            <a:off x="3098576" y="4493096"/>
            <a:ext cx="5937920" cy="196024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>
            <a:lvl1pPr marL="640080" indent="-457200" algn="l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54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182880" indent="0" algn="ctr">
              <a:buFont typeface="Georgia" pitchFamily="18" charset="0"/>
              <a:buNone/>
            </a:pPr>
            <a:r>
              <a:rPr lang="es-ES" sz="3600" dirty="0" smtClean="0"/>
              <a:t>INCORPORACIÓN DE NUEVAS EMPRESAS COMO COMERCIOS COLABORADORES</a:t>
            </a:r>
            <a:endParaRPr lang="es-ES" sz="3600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353" y="4709120"/>
            <a:ext cx="2927479" cy="1698848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6" name="1 Título"/>
          <p:cNvSpPr txBox="1">
            <a:spLocks/>
          </p:cNvSpPr>
          <p:nvPr/>
        </p:nvSpPr>
        <p:spPr>
          <a:xfrm>
            <a:off x="403920" y="981701"/>
            <a:ext cx="4248472" cy="1222375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>
            <a:lvl1pPr marL="640080" indent="-457200" algn="l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54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182880" indent="0" algn="ctr">
              <a:buFont typeface="Georgia" pitchFamily="18" charset="0"/>
              <a:buNone/>
            </a:pPr>
            <a:r>
              <a:rPr lang="es-ES" sz="3600" dirty="0" smtClean="0"/>
              <a:t>RENOVACIÓN DEL CARNÉ DE SOCIOS</a:t>
            </a:r>
            <a:endParaRPr lang="es-ES" sz="3600" dirty="0"/>
          </a:p>
        </p:txBody>
      </p:sp>
      <p:sp>
        <p:nvSpPr>
          <p:cNvPr id="8" name="1 Título"/>
          <p:cNvSpPr txBox="1">
            <a:spLocks/>
          </p:cNvSpPr>
          <p:nvPr/>
        </p:nvSpPr>
        <p:spPr>
          <a:xfrm>
            <a:off x="132352" y="2954920"/>
            <a:ext cx="8760127" cy="762112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>
            <a:lvl1pPr marL="640080" indent="-457200" algn="l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54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182880" indent="0" algn="ctr">
              <a:buFont typeface="Georgia" pitchFamily="18" charset="0"/>
              <a:buNone/>
            </a:pPr>
            <a:r>
              <a:rPr lang="es-ES" sz="3600" dirty="0" smtClean="0"/>
              <a:t>SUBVENCIÓN DE 5€ POR ALUMNO PARA SALIDAS Y EXCURSIONES</a:t>
            </a:r>
            <a:endParaRPr lang="es-ES" sz="3600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0031" y="234236"/>
            <a:ext cx="3822911" cy="23306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9063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4800" b="1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467544" y="188640"/>
            <a:ext cx="8458200" cy="1222375"/>
          </a:xfrm>
        </p:spPr>
        <p:txBody>
          <a:bodyPr/>
          <a:lstStyle/>
          <a:p>
            <a:pPr marL="182880" indent="0" algn="ctr">
              <a:buNone/>
            </a:pPr>
            <a:r>
              <a:rPr lang="es-ES" sz="4800" dirty="0" smtClean="0"/>
              <a:t>TALLER DE TEATRO</a:t>
            </a:r>
            <a:endParaRPr lang="es-ES" sz="48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7731" y="1411015"/>
            <a:ext cx="5457825" cy="52006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" name="2 Rectángulo redondeado"/>
          <p:cNvSpPr/>
          <p:nvPr/>
        </p:nvSpPr>
        <p:spPr>
          <a:xfrm>
            <a:off x="6156176" y="5229200"/>
            <a:ext cx="720080" cy="64807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741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42784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4800" b="1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467544" y="188640"/>
            <a:ext cx="8458200" cy="1222375"/>
          </a:xfrm>
        </p:spPr>
        <p:txBody>
          <a:bodyPr/>
          <a:lstStyle/>
          <a:p>
            <a:pPr marL="182880" indent="0" algn="ctr">
              <a:buNone/>
            </a:pPr>
            <a:r>
              <a:rPr lang="es-ES" sz="4800" dirty="0" smtClean="0"/>
              <a:t>FIESTA DE INFANTIL</a:t>
            </a:r>
            <a:endParaRPr lang="es-ES" sz="48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542" y="1196752"/>
            <a:ext cx="5191125" cy="539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7547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4800" b="1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467544" y="-27384"/>
            <a:ext cx="8458200" cy="1222375"/>
          </a:xfrm>
        </p:spPr>
        <p:txBody>
          <a:bodyPr/>
          <a:lstStyle/>
          <a:p>
            <a:pPr marL="182880" indent="0" algn="ctr">
              <a:buNone/>
            </a:pPr>
            <a:r>
              <a:rPr lang="es-ES" sz="4800" dirty="0" smtClean="0"/>
              <a:t>TALLER: PROGRAMACIÓN NEUROLINGÜISTICA (PNL)</a:t>
            </a:r>
            <a:endParaRPr lang="es-ES" sz="4800" dirty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20" y="1556792"/>
            <a:ext cx="5076825" cy="3676650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106" name="Picture 10" descr="C:\Users\mcastilg\AppData\Local\Microsoft\Windows\Temporary Internet Files\Content.IE5\MH3WYM02\Taller_PNL_20181105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936" y="3916888"/>
            <a:ext cx="5003025" cy="2815910"/>
          </a:xfrm>
          <a:prstGeom prst="rect">
            <a:avLst/>
          </a:prstGeom>
          <a:noFill/>
          <a:ln>
            <a:solidFill>
              <a:schemeClr val="accent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6" name="Picture 2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9448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4800" b="1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179512" y="188640"/>
            <a:ext cx="8818240" cy="1222375"/>
          </a:xfrm>
        </p:spPr>
        <p:txBody>
          <a:bodyPr/>
          <a:lstStyle/>
          <a:p>
            <a:pPr marL="182880" indent="0" algn="ctr">
              <a:buNone/>
            </a:pPr>
            <a:r>
              <a:rPr lang="es-ES" sz="4800" dirty="0" smtClean="0"/>
              <a:t>CUARTO MERCADILLO DEL JUGUETE</a:t>
            </a:r>
            <a:endParaRPr lang="es-ES" sz="4800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700808"/>
            <a:ext cx="5042162" cy="391138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131" name="Picture 11" descr="C:\Users\mcastilg\AppData\Local\Microsoft\Windows\Temporary Internet Files\Content.IE5\CVTQMYUU\C67FE68B-C9D5-4F1A-8769-7F3AE535BB87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111" y="1700808"/>
            <a:ext cx="3630377" cy="5067484"/>
          </a:xfrm>
          <a:prstGeom prst="rect">
            <a:avLst/>
          </a:prstGeom>
          <a:noFill/>
          <a:ln>
            <a:solidFill>
              <a:schemeClr val="accent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9" name="Picture 1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64818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4800" b="1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107504" y="-99392"/>
            <a:ext cx="9001000" cy="1222375"/>
          </a:xfrm>
        </p:spPr>
        <p:txBody>
          <a:bodyPr/>
          <a:lstStyle/>
          <a:p>
            <a:pPr marL="182880" indent="0" algn="ctr">
              <a:buNone/>
            </a:pPr>
            <a:r>
              <a:rPr lang="es-ES" sz="4800" dirty="0" smtClean="0"/>
              <a:t>BELÉN DEL COLEGIO Y DECORACIÓN EN PORTERÍA</a:t>
            </a:r>
            <a:endParaRPr lang="es-ES" sz="4800" dirty="0"/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628800"/>
            <a:ext cx="2599150" cy="3709514"/>
          </a:xfrm>
          <a:prstGeom prst="rect">
            <a:avLst/>
          </a:prstGeom>
          <a:ln>
            <a:solidFill>
              <a:schemeClr val="accent2"/>
            </a:solidFill>
          </a:ln>
        </p:spPr>
      </p:pic>
      <p:sp>
        <p:nvSpPr>
          <p:cNvPr id="6" name="1 Título"/>
          <p:cNvSpPr txBox="1">
            <a:spLocks/>
          </p:cNvSpPr>
          <p:nvPr/>
        </p:nvSpPr>
        <p:spPr>
          <a:xfrm>
            <a:off x="0" y="5229200"/>
            <a:ext cx="4932040" cy="1222375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>
            <a:lvl1pPr marL="640080" indent="-457200" algn="l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54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182880" indent="0" algn="ctr">
              <a:buFont typeface="Georgia" pitchFamily="18" charset="0"/>
              <a:buNone/>
            </a:pPr>
            <a:r>
              <a:rPr lang="es-ES" sz="4800" dirty="0" smtClean="0"/>
              <a:t>LOTERÍA DE NAVIDAD 2018</a:t>
            </a:r>
            <a:endParaRPr lang="es-ES" sz="4800" dirty="0"/>
          </a:p>
        </p:txBody>
      </p:sp>
      <p:pic>
        <p:nvPicPr>
          <p:cNvPr id="14342" name="Picture 6" descr="C:\Users\mcastilg\AppData\Local\Microsoft\Windows\Temporary Internet Files\Content.IE5\AW1ZF43X\67E7A7E6-5994-4163-B7AC-0288D214C832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1627700"/>
            <a:ext cx="3528392" cy="5063164"/>
          </a:xfrm>
          <a:prstGeom prst="rect">
            <a:avLst/>
          </a:prstGeom>
          <a:noFill/>
          <a:ln>
            <a:solidFill>
              <a:schemeClr val="accent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9" name="Picture 1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5128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4800" b="1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467544" y="188640"/>
            <a:ext cx="8458200" cy="1222375"/>
          </a:xfrm>
        </p:spPr>
        <p:txBody>
          <a:bodyPr/>
          <a:lstStyle/>
          <a:p>
            <a:pPr marL="182880" indent="0" algn="ctr">
              <a:buNone/>
            </a:pPr>
            <a:r>
              <a:rPr lang="es-ES" sz="4800" dirty="0" smtClean="0"/>
              <a:t>CONCURSOS NAVIDEÑOS 2018</a:t>
            </a:r>
            <a:endParaRPr lang="es-ES" sz="4800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844824"/>
            <a:ext cx="8499024" cy="47796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77" name="Picture 1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64818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kull6PReiM3BZ0iJ5gN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dQpXRQTI.gcHvnOeAeK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K8BAfvTbeW5nR52t.cx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H5IuhqQSCGi4r6WXFCc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H5IuhqQSCGi4r6WXFC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pQWKvFQXeuziAgWheVe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lvWZCDRQSbpqa5Utup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7NT5ufRAew7hKLIskTu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OeZAtmTAydCL6Fagkwt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8f1ma8RcSiC..rwlMw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OzqoACQ526kpRSPP9Q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JI2dUcR_GhAKgX_0aB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p5GQAaT1myspGyDj9BI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UobGjyR5eJJmPMqbSw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WOGQC8RBiBjnkE2BWlFA"/>
</p:tagLst>
</file>

<file path=ppt/theme/theme1.xml><?xml version="1.0" encoding="utf-8"?>
<a:theme xmlns:a="http://schemas.openxmlformats.org/drawingml/2006/main" name="Transmisión de listas">
  <a:themeElements>
    <a:clrScheme name="Elemental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629DD1"/>
      </a:accent1>
      <a:accent2>
        <a:srgbClr val="297FD5"/>
      </a:accent2>
      <a:accent3>
        <a:srgbClr val="7F8FA9"/>
      </a:accent3>
      <a:accent4>
        <a:srgbClr val="4A66AC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Transmisión de listas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ransmisión de listas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lipstream</Template>
  <TotalTime>184</TotalTime>
  <Words>131</Words>
  <Application>Microsoft Office PowerPoint</Application>
  <PresentationFormat>Presentación en pantalla (4:3)</PresentationFormat>
  <Paragraphs>28</Paragraphs>
  <Slides>18</Slides>
  <Notes>1</Notes>
  <HiddenSlides>0</HiddenSlides>
  <MMClips>0</MMClips>
  <ScaleCrop>false</ScaleCrop>
  <HeadingPairs>
    <vt:vector size="6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18</vt:i4>
      </vt:variant>
    </vt:vector>
  </HeadingPairs>
  <TitlesOfParts>
    <vt:vector size="22" baseType="lpstr">
      <vt:lpstr>Calibri</vt:lpstr>
      <vt:lpstr>Georgia</vt:lpstr>
      <vt:lpstr>Trebuchet MS</vt:lpstr>
      <vt:lpstr>Transmisión de listas</vt:lpstr>
      <vt:lpstr> MEMORIA DE ACTIVIDADES AMPA ESCOLAPIAS CARABANCHEL   CURSO 2018-2019</vt:lpstr>
      <vt:lpstr>Presentación de PowerPoint</vt:lpstr>
      <vt:lpstr>Presentación de PowerPoint</vt:lpstr>
      <vt:lpstr>TALLER DE TEATRO</vt:lpstr>
      <vt:lpstr>FIESTA DE INFANTIL</vt:lpstr>
      <vt:lpstr>TALLER: PROGRAMACIÓN NEUROLINGÜISTICA (PNL)</vt:lpstr>
      <vt:lpstr>CUARTO MERCADILLO DEL JUGUETE</vt:lpstr>
      <vt:lpstr>BELÉN DEL COLEGIO Y DECORACIÓN EN PORTERÍA</vt:lpstr>
      <vt:lpstr>CONCURSOS NAVIDEÑOS 2018</vt:lpstr>
      <vt:lpstr>FELICITACIÓN NAVIDEÑA A PADRES Y PERSONAL DEL CENTRO</vt:lpstr>
      <vt:lpstr>TALLER DE NAVIDAD</vt:lpstr>
      <vt:lpstr>FIESTA DE NAVIDAD</vt:lpstr>
      <vt:lpstr>PUERTAS ABIERTAS 2019</vt:lpstr>
      <vt:lpstr>2º TALLER PNL PARA FAMILIAS: LOS JUICIOS EN LA COMUNICACIÓN INTERPERSONAL</vt:lpstr>
      <vt:lpstr>COLABORACIÓN CON LA GRADUACIÓN DE BACHILLERATO PROMOCIÓN 2019</vt:lpstr>
      <vt:lpstr>FIESTA FIN DE CURSO 2018-19</vt:lpstr>
      <vt:lpstr>COLABORACIONES CON EL COLEGIO DURANTE EL CURSO 2018-2019:</vt:lpstr>
      <vt:lpstr>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Pablo Garcia del Castillo</dc:creator>
  <cp:lastModifiedBy>Usuario</cp:lastModifiedBy>
  <cp:revision>64</cp:revision>
  <dcterms:created xsi:type="dcterms:W3CDTF">2017-05-27T16:32:36Z</dcterms:created>
  <dcterms:modified xsi:type="dcterms:W3CDTF">2021-01-15T19:28:43Z</dcterms:modified>
</cp:coreProperties>
</file>